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0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47-4884-A359-C5B5E010F9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47-4884-A359-C5B5E010F9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47-4884-A359-C5B5E010F9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microsoft.com/office/2014/relationships/chartEx" Target="../charts/chartEx1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B5B44-B356-16B1-B44B-787A10779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769994-5B18-0A1A-0D9D-9E7B42FAE7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769994-5B18-0A1A-0D9D-9E7B42FAE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436E209E-2577-0EF7-2F72-68937FCE3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Waterfall / 100% Stacked Column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6C29BA-96FD-31DB-2510-67EEDA18C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11E9BF96-E46C-3949-65D0-E03684F426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374BA1C-DBB7-2B11-17D5-577F411170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19D6C82-011F-94C1-9C85-C0B125553E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ADBB5D68-9B8A-CD3B-884A-3595951CF4EC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0" name="Chart Placeholder 5">
                <a:extLst>
                  <a:ext uri="{FF2B5EF4-FFF2-40B4-BE49-F238E27FC236}">
                    <a16:creationId xmlns:a16="http://schemas.microsoft.com/office/drawing/2014/main" id="{AEFB1752-D638-3DF4-3A11-2B8F41215CF5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0" name="Chart Placeholder 5">
                <a:extLst>
                  <a:ext uri="{FF2B5EF4-FFF2-40B4-BE49-F238E27FC236}">
                    <a16:creationId xmlns:a16="http://schemas.microsoft.com/office/drawing/2014/main" id="{AEFB1752-D638-3DF4-3A11-2B8F41215CF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75974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7</TotalTime>
  <Words>24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Waterfall / 100% 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87</cp:revision>
  <dcterms:created xsi:type="dcterms:W3CDTF">2025-07-09T10:57:17Z</dcterms:created>
  <dcterms:modified xsi:type="dcterms:W3CDTF">2025-10-22T10:12:36Z</dcterms:modified>
  <cp:category/>
</cp:coreProperties>
</file>